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3A-43DF-A87F-71A306C36F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63A-43DF-A87F-71A306C36F6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A-43DF-A87F-71A306C36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6023087"/>
        <c:axId val="1"/>
      </c:barChart>
      <c:catAx>
        <c:axId val="506023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669" cap="flat" cmpd="sng" algn="ctr">
            <a:solidFill>
              <a:schemeClr val="accent6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4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4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023087"/>
        <c:crosses val="autoZero"/>
        <c:crossBetween val="between"/>
      </c:valAx>
      <c:spPr>
        <a:noFill/>
        <a:ln w="25339">
          <a:noFill/>
        </a:ln>
        <a:effectLst/>
      </c:spPr>
    </c:plotArea>
    <c:legend>
      <c:legendPos val="b"/>
      <c:layout>
        <c:manualLayout>
          <c:xMode val="edge"/>
          <c:yMode val="edge"/>
          <c:x val="0.18394736842105261"/>
          <c:y val="0.92481442749343834"/>
          <c:w val="0.75115295620942113"/>
          <c:h val="6.979761318897637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22A858-10B0-7B35-C24C-AB419CB1CF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C9CEAE5-B7AC-3593-1135-728500BECE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9CEAE5-B7AC-3593-1135-728500BECE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01AA82-D68C-D564-CC0B-81BFBB8F6F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B76F52D-36CC-C007-D774-D01CB9F58D3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34">
            <a:extLst>
              <a:ext uri="{FF2B5EF4-FFF2-40B4-BE49-F238E27FC236}">
                <a16:creationId xmlns:a16="http://schemas.microsoft.com/office/drawing/2014/main" id="{CF9CD9C9-0BEF-47E0-4396-539842FA2180}"/>
              </a:ext>
            </a:extLst>
          </p:cNvPr>
          <p:cNvGraphicFramePr>
            <a:graphicFrameLocks/>
          </p:cNvGraphicFramePr>
          <p:nvPr/>
        </p:nvGraphicFramePr>
        <p:xfrm>
          <a:off x="5932488" y="1365759"/>
          <a:ext cx="5781675" cy="486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7738F44-8D1B-BDE0-E69C-1A3D2C4B0807}"/>
              </a:ext>
            </a:extLst>
          </p:cNvPr>
          <p:cNvSpPr/>
          <p:nvPr/>
        </p:nvSpPr>
        <p:spPr bwMode="auto">
          <a:xfrm>
            <a:off x="481013" y="1430847"/>
            <a:ext cx="965200" cy="965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Freeform 120">
            <a:extLst>
              <a:ext uri="{FF2B5EF4-FFF2-40B4-BE49-F238E27FC236}">
                <a16:creationId xmlns:a16="http://schemas.microsoft.com/office/drawing/2014/main" id="{F0A2D2B7-52FF-BCE6-4CE0-64C6164E8C3F}"/>
              </a:ext>
            </a:extLst>
          </p:cNvPr>
          <p:cNvSpPr>
            <a:spLocks noEditPoints="1"/>
          </p:cNvSpPr>
          <p:nvPr/>
        </p:nvSpPr>
        <p:spPr bwMode="auto">
          <a:xfrm>
            <a:off x="732904" y="1662101"/>
            <a:ext cx="461418" cy="461418"/>
          </a:xfrm>
          <a:custGeom>
            <a:avLst/>
            <a:gdLst>
              <a:gd name="T0" fmla="*/ 249238 w 62"/>
              <a:gd name="T1" fmla="*/ 498476 h 62"/>
              <a:gd name="T2" fmla="*/ 0 w 62"/>
              <a:gd name="T3" fmla="*/ 249238 h 62"/>
              <a:gd name="T4" fmla="*/ 249238 w 62"/>
              <a:gd name="T5" fmla="*/ 0 h 62"/>
              <a:gd name="T6" fmla="*/ 498476 w 62"/>
              <a:gd name="T7" fmla="*/ 249238 h 62"/>
              <a:gd name="T8" fmla="*/ 249238 w 62"/>
              <a:gd name="T9" fmla="*/ 498476 h 62"/>
              <a:gd name="T10" fmla="*/ 249238 w 62"/>
              <a:gd name="T11" fmla="*/ 72359 h 62"/>
              <a:gd name="T12" fmla="*/ 72359 w 62"/>
              <a:gd name="T13" fmla="*/ 249238 h 62"/>
              <a:gd name="T14" fmla="*/ 249238 w 62"/>
              <a:gd name="T15" fmla="*/ 426117 h 62"/>
              <a:gd name="T16" fmla="*/ 426117 w 62"/>
              <a:gd name="T17" fmla="*/ 249238 h 62"/>
              <a:gd name="T18" fmla="*/ 249238 w 62"/>
              <a:gd name="T19" fmla="*/ 72359 h 62"/>
              <a:gd name="T20" fmla="*/ 377877 w 62"/>
              <a:gd name="T21" fmla="*/ 273358 h 62"/>
              <a:gd name="T22" fmla="*/ 200998 w 62"/>
              <a:gd name="T23" fmla="*/ 369837 h 62"/>
              <a:gd name="T24" fmla="*/ 192958 w 62"/>
              <a:gd name="T25" fmla="*/ 377877 h 62"/>
              <a:gd name="T26" fmla="*/ 176879 w 62"/>
              <a:gd name="T27" fmla="*/ 369837 h 62"/>
              <a:gd name="T28" fmla="*/ 168839 w 62"/>
              <a:gd name="T29" fmla="*/ 353757 h 62"/>
              <a:gd name="T30" fmla="*/ 168839 w 62"/>
              <a:gd name="T31" fmla="*/ 144719 h 62"/>
              <a:gd name="T32" fmla="*/ 176879 w 62"/>
              <a:gd name="T33" fmla="*/ 128639 h 62"/>
              <a:gd name="T34" fmla="*/ 200998 w 62"/>
              <a:gd name="T35" fmla="*/ 128639 h 62"/>
              <a:gd name="T36" fmla="*/ 377877 w 62"/>
              <a:gd name="T37" fmla="*/ 233158 h 62"/>
              <a:gd name="T38" fmla="*/ 385917 w 62"/>
              <a:gd name="T39" fmla="*/ 249238 h 62"/>
              <a:gd name="T40" fmla="*/ 377877 w 62"/>
              <a:gd name="T41" fmla="*/ 273358 h 6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62" h="62">
                <a:moveTo>
                  <a:pt x="31" y="62"/>
                </a:moveTo>
                <a:cubicBezTo>
                  <a:pt x="14" y="62"/>
                  <a:pt x="0" y="48"/>
                  <a:pt x="0" y="31"/>
                </a:cubicBezTo>
                <a:cubicBezTo>
                  <a:pt x="0" y="14"/>
                  <a:pt x="14" y="0"/>
                  <a:pt x="31" y="0"/>
                </a:cubicBezTo>
                <a:cubicBezTo>
                  <a:pt x="48" y="0"/>
                  <a:pt x="62" y="14"/>
                  <a:pt x="62" y="31"/>
                </a:cubicBezTo>
                <a:cubicBezTo>
                  <a:pt x="62" y="48"/>
                  <a:pt x="48" y="62"/>
                  <a:pt x="31" y="62"/>
                </a:cubicBezTo>
                <a:close/>
                <a:moveTo>
                  <a:pt x="31" y="9"/>
                </a:moveTo>
                <a:cubicBezTo>
                  <a:pt x="19" y="9"/>
                  <a:pt x="9" y="19"/>
                  <a:pt x="9" y="31"/>
                </a:cubicBezTo>
                <a:cubicBezTo>
                  <a:pt x="9" y="43"/>
                  <a:pt x="19" y="53"/>
                  <a:pt x="31" y="53"/>
                </a:cubicBezTo>
                <a:cubicBezTo>
                  <a:pt x="43" y="53"/>
                  <a:pt x="53" y="43"/>
                  <a:pt x="53" y="31"/>
                </a:cubicBezTo>
                <a:cubicBezTo>
                  <a:pt x="53" y="19"/>
                  <a:pt x="43" y="9"/>
                  <a:pt x="31" y="9"/>
                </a:cubicBezTo>
                <a:close/>
                <a:moveTo>
                  <a:pt x="47" y="34"/>
                </a:moveTo>
                <a:cubicBezTo>
                  <a:pt x="25" y="46"/>
                  <a:pt x="25" y="46"/>
                  <a:pt x="25" y="46"/>
                </a:cubicBezTo>
                <a:cubicBezTo>
                  <a:pt x="24" y="47"/>
                  <a:pt x="24" y="47"/>
                  <a:pt x="24" y="47"/>
                </a:cubicBezTo>
                <a:cubicBezTo>
                  <a:pt x="23" y="47"/>
                  <a:pt x="23" y="47"/>
                  <a:pt x="22" y="46"/>
                </a:cubicBezTo>
                <a:cubicBezTo>
                  <a:pt x="22" y="46"/>
                  <a:pt x="21" y="45"/>
                  <a:pt x="21" y="44"/>
                </a:cubicBezTo>
                <a:cubicBezTo>
                  <a:pt x="21" y="18"/>
                  <a:pt x="21" y="18"/>
                  <a:pt x="21" y="18"/>
                </a:cubicBezTo>
                <a:cubicBezTo>
                  <a:pt x="21" y="18"/>
                  <a:pt x="22" y="17"/>
                  <a:pt x="22" y="16"/>
                </a:cubicBezTo>
                <a:cubicBezTo>
                  <a:pt x="23" y="16"/>
                  <a:pt x="24" y="16"/>
                  <a:pt x="25" y="16"/>
                </a:cubicBezTo>
                <a:cubicBezTo>
                  <a:pt x="47" y="29"/>
                  <a:pt x="47" y="29"/>
                  <a:pt x="47" y="29"/>
                </a:cubicBezTo>
                <a:cubicBezTo>
                  <a:pt x="48" y="30"/>
                  <a:pt x="48" y="30"/>
                  <a:pt x="48" y="31"/>
                </a:cubicBezTo>
                <a:cubicBezTo>
                  <a:pt x="48" y="32"/>
                  <a:pt x="48" y="33"/>
                  <a:pt x="47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EA2EB58-DAE0-AA71-BEB8-834802686FE8}"/>
              </a:ext>
            </a:extLst>
          </p:cNvPr>
          <p:cNvSpPr/>
          <p:nvPr/>
        </p:nvSpPr>
        <p:spPr>
          <a:xfrm>
            <a:off x="481013" y="2608116"/>
            <a:ext cx="965201" cy="9652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05FADB-0F9F-0616-EA23-90502FD1C862}"/>
              </a:ext>
            </a:extLst>
          </p:cNvPr>
          <p:cNvSpPr/>
          <p:nvPr/>
        </p:nvSpPr>
        <p:spPr>
          <a:xfrm>
            <a:off x="481013" y="3786043"/>
            <a:ext cx="965201" cy="9652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F374995-1526-8DD3-408F-F4317F34D5ED}"/>
              </a:ext>
            </a:extLst>
          </p:cNvPr>
          <p:cNvSpPr/>
          <p:nvPr/>
        </p:nvSpPr>
        <p:spPr>
          <a:xfrm>
            <a:off x="481013" y="4963970"/>
            <a:ext cx="965201" cy="9652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8" name="TextBox 86">
            <a:extLst>
              <a:ext uri="{FF2B5EF4-FFF2-40B4-BE49-F238E27FC236}">
                <a16:creationId xmlns:a16="http://schemas.microsoft.com/office/drawing/2014/main" id="{1B6CD638-4331-369E-8884-26F78C5F2A8D}"/>
              </a:ext>
            </a:extLst>
          </p:cNvPr>
          <p:cNvSpPr txBox="1"/>
          <p:nvPr/>
        </p:nvSpPr>
        <p:spPr>
          <a:xfrm>
            <a:off x="1585912" y="1554672"/>
            <a:ext cx="393541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1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/>
          </a:p>
        </p:txBody>
      </p:sp>
      <p:sp>
        <p:nvSpPr>
          <p:cNvPr id="19" name="TextBox 86">
            <a:extLst>
              <a:ext uri="{FF2B5EF4-FFF2-40B4-BE49-F238E27FC236}">
                <a16:creationId xmlns:a16="http://schemas.microsoft.com/office/drawing/2014/main" id="{484AD547-C615-C438-3BDC-14935971192E}"/>
              </a:ext>
            </a:extLst>
          </p:cNvPr>
          <p:cNvSpPr txBox="1"/>
          <p:nvPr/>
        </p:nvSpPr>
        <p:spPr>
          <a:xfrm>
            <a:off x="1585912" y="2732597"/>
            <a:ext cx="3887788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2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0" name="TextBox 86">
            <a:extLst>
              <a:ext uri="{FF2B5EF4-FFF2-40B4-BE49-F238E27FC236}">
                <a16:creationId xmlns:a16="http://schemas.microsoft.com/office/drawing/2014/main" id="{A7BFA0DE-0719-52E0-35A8-D8A6BB2460A0}"/>
              </a:ext>
            </a:extLst>
          </p:cNvPr>
          <p:cNvSpPr txBox="1"/>
          <p:nvPr/>
        </p:nvSpPr>
        <p:spPr>
          <a:xfrm>
            <a:off x="1581150" y="3910522"/>
            <a:ext cx="3892550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3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1" name="TextBox 86">
            <a:extLst>
              <a:ext uri="{FF2B5EF4-FFF2-40B4-BE49-F238E27FC236}">
                <a16:creationId xmlns:a16="http://schemas.microsoft.com/office/drawing/2014/main" id="{E2601324-DAE6-D402-57CF-74E1142C0A3E}"/>
              </a:ext>
            </a:extLst>
          </p:cNvPr>
          <p:cNvSpPr txBox="1"/>
          <p:nvPr/>
        </p:nvSpPr>
        <p:spPr>
          <a:xfrm>
            <a:off x="1581150" y="5093209"/>
            <a:ext cx="3892550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4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2" name="Freeform 117">
            <a:extLst>
              <a:ext uri="{FF2B5EF4-FFF2-40B4-BE49-F238E27FC236}">
                <a16:creationId xmlns:a16="http://schemas.microsoft.com/office/drawing/2014/main" id="{A71F66AD-E615-C0AB-FB06-61D449F07931}"/>
              </a:ext>
            </a:extLst>
          </p:cNvPr>
          <p:cNvSpPr>
            <a:spLocks/>
          </p:cNvSpPr>
          <p:nvPr/>
        </p:nvSpPr>
        <p:spPr bwMode="auto">
          <a:xfrm>
            <a:off x="797100" y="2886759"/>
            <a:ext cx="399700" cy="399700"/>
          </a:xfrm>
          <a:custGeom>
            <a:avLst/>
            <a:gdLst>
              <a:gd name="T0" fmla="*/ 424421 w 57"/>
              <a:gd name="T1" fmla="*/ 386526 h 57"/>
              <a:gd name="T2" fmla="*/ 386526 w 57"/>
              <a:gd name="T3" fmla="*/ 416842 h 57"/>
              <a:gd name="T4" fmla="*/ 325895 w 57"/>
              <a:gd name="T5" fmla="*/ 432000 h 57"/>
              <a:gd name="T6" fmla="*/ 250105 w 57"/>
              <a:gd name="T7" fmla="*/ 409263 h 57"/>
              <a:gd name="T8" fmla="*/ 197053 w 57"/>
              <a:gd name="T9" fmla="*/ 386526 h 57"/>
              <a:gd name="T10" fmla="*/ 53053 w 57"/>
              <a:gd name="T11" fmla="*/ 242526 h 57"/>
              <a:gd name="T12" fmla="*/ 22737 w 57"/>
              <a:gd name="T13" fmla="*/ 189474 h 57"/>
              <a:gd name="T14" fmla="*/ 0 w 57"/>
              <a:gd name="T15" fmla="*/ 106105 h 57"/>
              <a:gd name="T16" fmla="*/ 22737 w 57"/>
              <a:gd name="T17" fmla="*/ 53053 h 57"/>
              <a:gd name="T18" fmla="*/ 53053 w 57"/>
              <a:gd name="T19" fmla="*/ 15158 h 57"/>
              <a:gd name="T20" fmla="*/ 90947 w 57"/>
              <a:gd name="T21" fmla="*/ 0 h 57"/>
              <a:gd name="T22" fmla="*/ 98526 w 57"/>
              <a:gd name="T23" fmla="*/ 7579 h 57"/>
              <a:gd name="T24" fmla="*/ 113684 w 57"/>
              <a:gd name="T25" fmla="*/ 30316 h 57"/>
              <a:gd name="T26" fmla="*/ 144000 w 57"/>
              <a:gd name="T27" fmla="*/ 75789 h 57"/>
              <a:gd name="T28" fmla="*/ 159158 w 57"/>
              <a:gd name="T29" fmla="*/ 106105 h 57"/>
              <a:gd name="T30" fmla="*/ 106105 w 57"/>
              <a:gd name="T31" fmla="*/ 166737 h 57"/>
              <a:gd name="T32" fmla="*/ 113684 w 57"/>
              <a:gd name="T33" fmla="*/ 197053 h 57"/>
              <a:gd name="T34" fmla="*/ 242526 w 57"/>
              <a:gd name="T35" fmla="*/ 318316 h 57"/>
              <a:gd name="T36" fmla="*/ 265263 w 57"/>
              <a:gd name="T37" fmla="*/ 333474 h 57"/>
              <a:gd name="T38" fmla="*/ 325895 w 57"/>
              <a:gd name="T39" fmla="*/ 272842 h 57"/>
              <a:gd name="T40" fmla="*/ 356211 w 57"/>
              <a:gd name="T41" fmla="*/ 288000 h 57"/>
              <a:gd name="T42" fmla="*/ 409263 w 57"/>
              <a:gd name="T43" fmla="*/ 318316 h 57"/>
              <a:gd name="T44" fmla="*/ 432000 w 57"/>
              <a:gd name="T45" fmla="*/ 333474 h 57"/>
              <a:gd name="T46" fmla="*/ 432000 w 57"/>
              <a:gd name="T47" fmla="*/ 341053 h 57"/>
              <a:gd name="T48" fmla="*/ 424421 w 57"/>
              <a:gd name="T49" fmla="*/ 386526 h 5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7" h="57">
                <a:moveTo>
                  <a:pt x="56" y="51"/>
                </a:moveTo>
                <a:cubicBezTo>
                  <a:pt x="55" y="53"/>
                  <a:pt x="53" y="54"/>
                  <a:pt x="51" y="55"/>
                </a:cubicBezTo>
                <a:cubicBezTo>
                  <a:pt x="49" y="56"/>
                  <a:pt x="46" y="57"/>
                  <a:pt x="43" y="57"/>
                </a:cubicBezTo>
                <a:cubicBezTo>
                  <a:pt x="40" y="57"/>
                  <a:pt x="36" y="55"/>
                  <a:pt x="33" y="54"/>
                </a:cubicBezTo>
                <a:cubicBezTo>
                  <a:pt x="30" y="53"/>
                  <a:pt x="28" y="52"/>
                  <a:pt x="26" y="51"/>
                </a:cubicBezTo>
                <a:cubicBezTo>
                  <a:pt x="19" y="47"/>
                  <a:pt x="11" y="38"/>
                  <a:pt x="7" y="32"/>
                </a:cubicBezTo>
                <a:cubicBezTo>
                  <a:pt x="5" y="29"/>
                  <a:pt x="4" y="27"/>
                  <a:pt x="3" y="25"/>
                </a:cubicBezTo>
                <a:cubicBezTo>
                  <a:pt x="2" y="21"/>
                  <a:pt x="0" y="18"/>
                  <a:pt x="0" y="14"/>
                </a:cubicBezTo>
                <a:cubicBezTo>
                  <a:pt x="0" y="11"/>
                  <a:pt x="1" y="9"/>
                  <a:pt x="3" y="7"/>
                </a:cubicBezTo>
                <a:cubicBezTo>
                  <a:pt x="4" y="5"/>
                  <a:pt x="5" y="3"/>
                  <a:pt x="7" y="2"/>
                </a:cubicBezTo>
                <a:cubicBezTo>
                  <a:pt x="8" y="1"/>
                  <a:pt x="11" y="0"/>
                  <a:pt x="12" y="0"/>
                </a:cubicBezTo>
                <a:cubicBezTo>
                  <a:pt x="13" y="0"/>
                  <a:pt x="13" y="0"/>
                  <a:pt x="13" y="1"/>
                </a:cubicBezTo>
                <a:cubicBezTo>
                  <a:pt x="14" y="1"/>
                  <a:pt x="15" y="3"/>
                  <a:pt x="15" y="4"/>
                </a:cubicBezTo>
                <a:cubicBezTo>
                  <a:pt x="17" y="6"/>
                  <a:pt x="18" y="8"/>
                  <a:pt x="19" y="10"/>
                </a:cubicBezTo>
                <a:cubicBezTo>
                  <a:pt x="20" y="12"/>
                  <a:pt x="21" y="13"/>
                  <a:pt x="21" y="14"/>
                </a:cubicBezTo>
                <a:cubicBezTo>
                  <a:pt x="21" y="17"/>
                  <a:pt x="14" y="20"/>
                  <a:pt x="14" y="22"/>
                </a:cubicBezTo>
                <a:cubicBezTo>
                  <a:pt x="14" y="23"/>
                  <a:pt x="15" y="25"/>
                  <a:pt x="15" y="26"/>
                </a:cubicBezTo>
                <a:cubicBezTo>
                  <a:pt x="19" y="33"/>
                  <a:pt x="24" y="38"/>
                  <a:pt x="32" y="42"/>
                </a:cubicBezTo>
                <a:cubicBezTo>
                  <a:pt x="33" y="43"/>
                  <a:pt x="34" y="44"/>
                  <a:pt x="35" y="44"/>
                </a:cubicBezTo>
                <a:cubicBezTo>
                  <a:pt x="37" y="44"/>
                  <a:pt x="41" y="36"/>
                  <a:pt x="43" y="36"/>
                </a:cubicBezTo>
                <a:cubicBezTo>
                  <a:pt x="45" y="36"/>
                  <a:pt x="46" y="38"/>
                  <a:pt x="47" y="38"/>
                </a:cubicBezTo>
                <a:cubicBezTo>
                  <a:pt x="49" y="40"/>
                  <a:pt x="52" y="41"/>
                  <a:pt x="54" y="42"/>
                </a:cubicBezTo>
                <a:cubicBezTo>
                  <a:pt x="55" y="43"/>
                  <a:pt x="57" y="43"/>
                  <a:pt x="57" y="44"/>
                </a:cubicBezTo>
                <a:cubicBezTo>
                  <a:pt x="57" y="45"/>
                  <a:pt x="57" y="45"/>
                  <a:pt x="57" y="45"/>
                </a:cubicBezTo>
                <a:cubicBezTo>
                  <a:pt x="57" y="47"/>
                  <a:pt x="56" y="49"/>
                  <a:pt x="56" y="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3" name="Freeform 90">
            <a:extLst>
              <a:ext uri="{FF2B5EF4-FFF2-40B4-BE49-F238E27FC236}">
                <a16:creationId xmlns:a16="http://schemas.microsoft.com/office/drawing/2014/main" id="{268C3917-0309-5459-76FC-5DEEB86AF8A8}"/>
              </a:ext>
            </a:extLst>
          </p:cNvPr>
          <p:cNvSpPr>
            <a:spLocks noEditPoints="1"/>
          </p:cNvSpPr>
          <p:nvPr/>
        </p:nvSpPr>
        <p:spPr bwMode="auto">
          <a:xfrm>
            <a:off x="797986" y="4089784"/>
            <a:ext cx="421742" cy="352676"/>
          </a:xfrm>
          <a:custGeom>
            <a:avLst/>
            <a:gdLst>
              <a:gd name="T0" fmla="*/ 435274 w 67"/>
              <a:gd name="T1" fmla="*/ 298590 h 56"/>
              <a:gd name="T2" fmla="*/ 231239 w 67"/>
              <a:gd name="T3" fmla="*/ 380024 h 56"/>
              <a:gd name="T4" fmla="*/ 13602 w 67"/>
              <a:gd name="T5" fmla="*/ 298590 h 56"/>
              <a:gd name="T6" fmla="*/ 0 w 67"/>
              <a:gd name="T7" fmla="*/ 210370 h 56"/>
              <a:gd name="T8" fmla="*/ 34006 w 67"/>
              <a:gd name="T9" fmla="*/ 101792 h 56"/>
              <a:gd name="T10" fmla="*/ 27205 w 67"/>
              <a:gd name="T11" fmla="*/ 54289 h 56"/>
              <a:gd name="T12" fmla="*/ 40807 w 67"/>
              <a:gd name="T13" fmla="*/ 0 h 56"/>
              <a:gd name="T14" fmla="*/ 142824 w 67"/>
              <a:gd name="T15" fmla="*/ 40717 h 56"/>
              <a:gd name="T16" fmla="*/ 231239 w 67"/>
              <a:gd name="T17" fmla="*/ 33931 h 56"/>
              <a:gd name="T18" fmla="*/ 306052 w 67"/>
              <a:gd name="T19" fmla="*/ 40717 h 56"/>
              <a:gd name="T20" fmla="*/ 408069 w 67"/>
              <a:gd name="T21" fmla="*/ 0 h 56"/>
              <a:gd name="T22" fmla="*/ 421671 w 67"/>
              <a:gd name="T23" fmla="*/ 54289 h 56"/>
              <a:gd name="T24" fmla="*/ 414870 w 67"/>
              <a:gd name="T25" fmla="*/ 101792 h 56"/>
              <a:gd name="T26" fmla="*/ 455677 w 67"/>
              <a:gd name="T27" fmla="*/ 210370 h 56"/>
              <a:gd name="T28" fmla="*/ 435274 w 67"/>
              <a:gd name="T29" fmla="*/ 298590 h 56"/>
              <a:gd name="T30" fmla="*/ 319654 w 67"/>
              <a:gd name="T31" fmla="*/ 183226 h 56"/>
              <a:gd name="T32" fmla="*/ 265245 w 67"/>
              <a:gd name="T33" fmla="*/ 183226 h 56"/>
              <a:gd name="T34" fmla="*/ 224438 w 67"/>
              <a:gd name="T35" fmla="*/ 190012 h 56"/>
              <a:gd name="T36" fmla="*/ 183631 w 67"/>
              <a:gd name="T37" fmla="*/ 183226 h 56"/>
              <a:gd name="T38" fmla="*/ 129222 w 67"/>
              <a:gd name="T39" fmla="*/ 183226 h 56"/>
              <a:gd name="T40" fmla="*/ 61210 w 67"/>
              <a:gd name="T41" fmla="*/ 257873 h 56"/>
              <a:gd name="T42" fmla="*/ 204034 w 67"/>
              <a:gd name="T43" fmla="*/ 352879 h 56"/>
              <a:gd name="T44" fmla="*/ 251643 w 67"/>
              <a:gd name="T45" fmla="*/ 352879 h 56"/>
              <a:gd name="T46" fmla="*/ 394467 w 67"/>
              <a:gd name="T47" fmla="*/ 257873 h 56"/>
              <a:gd name="T48" fmla="*/ 319654 w 67"/>
              <a:gd name="T49" fmla="*/ 183226 h 56"/>
              <a:gd name="T50" fmla="*/ 136023 w 67"/>
              <a:gd name="T51" fmla="*/ 312163 h 56"/>
              <a:gd name="T52" fmla="*/ 102017 w 67"/>
              <a:gd name="T53" fmla="*/ 257873 h 56"/>
              <a:gd name="T54" fmla="*/ 136023 w 67"/>
              <a:gd name="T55" fmla="*/ 203584 h 56"/>
              <a:gd name="T56" fmla="*/ 170029 w 67"/>
              <a:gd name="T57" fmla="*/ 257873 h 56"/>
              <a:gd name="T58" fmla="*/ 136023 w 67"/>
              <a:gd name="T59" fmla="*/ 312163 h 56"/>
              <a:gd name="T60" fmla="*/ 312853 w 67"/>
              <a:gd name="T61" fmla="*/ 312163 h 56"/>
              <a:gd name="T62" fmla="*/ 278847 w 67"/>
              <a:gd name="T63" fmla="*/ 257873 h 56"/>
              <a:gd name="T64" fmla="*/ 312853 w 67"/>
              <a:gd name="T65" fmla="*/ 203584 h 56"/>
              <a:gd name="T66" fmla="*/ 346859 w 67"/>
              <a:gd name="T67" fmla="*/ 257873 h 56"/>
              <a:gd name="T68" fmla="*/ 312853 w 67"/>
              <a:gd name="T69" fmla="*/ 312163 h 5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67" h="56">
                <a:moveTo>
                  <a:pt x="64" y="44"/>
                </a:moveTo>
                <a:cubicBezTo>
                  <a:pt x="59" y="55"/>
                  <a:pt x="44" y="56"/>
                  <a:pt x="34" y="56"/>
                </a:cubicBezTo>
                <a:cubicBezTo>
                  <a:pt x="23" y="56"/>
                  <a:pt x="8" y="55"/>
                  <a:pt x="2" y="44"/>
                </a:cubicBezTo>
                <a:cubicBezTo>
                  <a:pt x="0" y="40"/>
                  <a:pt x="0" y="36"/>
                  <a:pt x="0" y="31"/>
                </a:cubicBezTo>
                <a:cubicBezTo>
                  <a:pt x="0" y="25"/>
                  <a:pt x="1" y="20"/>
                  <a:pt x="5" y="15"/>
                </a:cubicBezTo>
                <a:cubicBezTo>
                  <a:pt x="4" y="13"/>
                  <a:pt x="4" y="11"/>
                  <a:pt x="4" y="8"/>
                </a:cubicBezTo>
                <a:cubicBezTo>
                  <a:pt x="4" y="5"/>
                  <a:pt x="5" y="2"/>
                  <a:pt x="6" y="0"/>
                </a:cubicBezTo>
                <a:cubicBezTo>
                  <a:pt x="13" y="0"/>
                  <a:pt x="17" y="2"/>
                  <a:pt x="21" y="6"/>
                </a:cubicBezTo>
                <a:cubicBezTo>
                  <a:pt x="25" y="5"/>
                  <a:pt x="30" y="5"/>
                  <a:pt x="34" y="5"/>
                </a:cubicBezTo>
                <a:cubicBezTo>
                  <a:pt x="38" y="5"/>
                  <a:pt x="41" y="5"/>
                  <a:pt x="45" y="6"/>
                </a:cubicBezTo>
                <a:cubicBezTo>
                  <a:pt x="50" y="2"/>
                  <a:pt x="54" y="0"/>
                  <a:pt x="60" y="0"/>
                </a:cubicBezTo>
                <a:cubicBezTo>
                  <a:pt x="62" y="2"/>
                  <a:pt x="62" y="5"/>
                  <a:pt x="62" y="8"/>
                </a:cubicBezTo>
                <a:cubicBezTo>
                  <a:pt x="62" y="11"/>
                  <a:pt x="62" y="13"/>
                  <a:pt x="61" y="15"/>
                </a:cubicBezTo>
                <a:cubicBezTo>
                  <a:pt x="65" y="20"/>
                  <a:pt x="67" y="25"/>
                  <a:pt x="67" y="31"/>
                </a:cubicBezTo>
                <a:cubicBezTo>
                  <a:pt x="67" y="36"/>
                  <a:pt x="66" y="40"/>
                  <a:pt x="64" y="44"/>
                </a:cubicBezTo>
                <a:close/>
                <a:moveTo>
                  <a:pt x="47" y="27"/>
                </a:moveTo>
                <a:cubicBezTo>
                  <a:pt x="45" y="27"/>
                  <a:pt x="42" y="27"/>
                  <a:pt x="39" y="27"/>
                </a:cubicBezTo>
                <a:cubicBezTo>
                  <a:pt x="37" y="28"/>
                  <a:pt x="35" y="28"/>
                  <a:pt x="33" y="28"/>
                </a:cubicBezTo>
                <a:cubicBezTo>
                  <a:pt x="31" y="28"/>
                  <a:pt x="29" y="28"/>
                  <a:pt x="27" y="27"/>
                </a:cubicBezTo>
                <a:cubicBezTo>
                  <a:pt x="24" y="27"/>
                  <a:pt x="22" y="27"/>
                  <a:pt x="19" y="27"/>
                </a:cubicBezTo>
                <a:cubicBezTo>
                  <a:pt x="12" y="27"/>
                  <a:pt x="9" y="32"/>
                  <a:pt x="9" y="38"/>
                </a:cubicBezTo>
                <a:cubicBezTo>
                  <a:pt x="9" y="50"/>
                  <a:pt x="20" y="52"/>
                  <a:pt x="30" y="52"/>
                </a:cubicBezTo>
                <a:cubicBezTo>
                  <a:pt x="37" y="52"/>
                  <a:pt x="37" y="52"/>
                  <a:pt x="37" y="52"/>
                </a:cubicBezTo>
                <a:cubicBezTo>
                  <a:pt x="46" y="52"/>
                  <a:pt x="58" y="50"/>
                  <a:pt x="58" y="38"/>
                </a:cubicBezTo>
                <a:cubicBezTo>
                  <a:pt x="58" y="32"/>
                  <a:pt x="54" y="27"/>
                  <a:pt x="47" y="27"/>
                </a:cubicBezTo>
                <a:close/>
                <a:moveTo>
                  <a:pt x="20" y="46"/>
                </a:moveTo>
                <a:cubicBezTo>
                  <a:pt x="17" y="46"/>
                  <a:pt x="15" y="41"/>
                  <a:pt x="15" y="38"/>
                </a:cubicBezTo>
                <a:cubicBezTo>
                  <a:pt x="15" y="35"/>
                  <a:pt x="17" y="30"/>
                  <a:pt x="20" y="30"/>
                </a:cubicBezTo>
                <a:cubicBezTo>
                  <a:pt x="24" y="30"/>
                  <a:pt x="25" y="35"/>
                  <a:pt x="25" y="38"/>
                </a:cubicBezTo>
                <a:cubicBezTo>
                  <a:pt x="25" y="41"/>
                  <a:pt x="24" y="46"/>
                  <a:pt x="20" y="46"/>
                </a:cubicBezTo>
                <a:close/>
                <a:moveTo>
                  <a:pt x="46" y="46"/>
                </a:moveTo>
                <a:cubicBezTo>
                  <a:pt x="42" y="46"/>
                  <a:pt x="41" y="41"/>
                  <a:pt x="41" y="38"/>
                </a:cubicBezTo>
                <a:cubicBezTo>
                  <a:pt x="41" y="35"/>
                  <a:pt x="42" y="30"/>
                  <a:pt x="46" y="30"/>
                </a:cubicBezTo>
                <a:cubicBezTo>
                  <a:pt x="50" y="30"/>
                  <a:pt x="51" y="35"/>
                  <a:pt x="51" y="38"/>
                </a:cubicBezTo>
                <a:cubicBezTo>
                  <a:pt x="51" y="41"/>
                  <a:pt x="50" y="46"/>
                  <a:pt x="46" y="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4" name="Freeform 122">
            <a:extLst>
              <a:ext uri="{FF2B5EF4-FFF2-40B4-BE49-F238E27FC236}">
                <a16:creationId xmlns:a16="http://schemas.microsoft.com/office/drawing/2014/main" id="{9515B83F-3DC4-D8E4-1E3A-02E41BAFC2E3}"/>
              </a:ext>
            </a:extLst>
          </p:cNvPr>
          <p:cNvSpPr>
            <a:spLocks noEditPoints="1"/>
          </p:cNvSpPr>
          <p:nvPr/>
        </p:nvSpPr>
        <p:spPr bwMode="auto">
          <a:xfrm>
            <a:off x="838364" y="5216454"/>
            <a:ext cx="320348" cy="459948"/>
          </a:xfrm>
          <a:custGeom>
            <a:avLst/>
            <a:gdLst>
              <a:gd name="T0" fmla="*/ 346075 w 41"/>
              <a:gd name="T1" fmla="*/ 244233 h 59"/>
              <a:gd name="T2" fmla="*/ 194140 w 41"/>
              <a:gd name="T3" fmla="*/ 421091 h 59"/>
              <a:gd name="T4" fmla="*/ 194140 w 41"/>
              <a:gd name="T5" fmla="*/ 463200 h 59"/>
              <a:gd name="T6" fmla="*/ 270107 w 41"/>
              <a:gd name="T7" fmla="*/ 463200 h 59"/>
              <a:gd name="T8" fmla="*/ 286989 w 41"/>
              <a:gd name="T9" fmla="*/ 480043 h 59"/>
              <a:gd name="T10" fmla="*/ 270107 w 41"/>
              <a:gd name="T11" fmla="*/ 496887 h 59"/>
              <a:gd name="T12" fmla="*/ 75968 w 41"/>
              <a:gd name="T13" fmla="*/ 496887 h 59"/>
              <a:gd name="T14" fmla="*/ 59086 w 41"/>
              <a:gd name="T15" fmla="*/ 480043 h 59"/>
              <a:gd name="T16" fmla="*/ 75968 w 41"/>
              <a:gd name="T17" fmla="*/ 463200 h 59"/>
              <a:gd name="T18" fmla="*/ 151935 w 41"/>
              <a:gd name="T19" fmla="*/ 463200 h 59"/>
              <a:gd name="T20" fmla="*/ 151935 w 41"/>
              <a:gd name="T21" fmla="*/ 421091 h 59"/>
              <a:gd name="T22" fmla="*/ 0 w 41"/>
              <a:gd name="T23" fmla="*/ 244233 h 59"/>
              <a:gd name="T24" fmla="*/ 0 w 41"/>
              <a:gd name="T25" fmla="*/ 210545 h 59"/>
              <a:gd name="T26" fmla="*/ 16882 w 41"/>
              <a:gd name="T27" fmla="*/ 193702 h 59"/>
              <a:gd name="T28" fmla="*/ 33763 w 41"/>
              <a:gd name="T29" fmla="*/ 210545 h 59"/>
              <a:gd name="T30" fmla="*/ 33763 w 41"/>
              <a:gd name="T31" fmla="*/ 244233 h 59"/>
              <a:gd name="T32" fmla="*/ 168817 w 41"/>
              <a:gd name="T33" fmla="*/ 378982 h 59"/>
              <a:gd name="T34" fmla="*/ 303871 w 41"/>
              <a:gd name="T35" fmla="*/ 244233 h 59"/>
              <a:gd name="T36" fmla="*/ 303871 w 41"/>
              <a:gd name="T37" fmla="*/ 210545 h 59"/>
              <a:gd name="T38" fmla="*/ 329193 w 41"/>
              <a:gd name="T39" fmla="*/ 193702 h 59"/>
              <a:gd name="T40" fmla="*/ 346075 w 41"/>
              <a:gd name="T41" fmla="*/ 210545 h 59"/>
              <a:gd name="T42" fmla="*/ 346075 w 41"/>
              <a:gd name="T43" fmla="*/ 244233 h 59"/>
              <a:gd name="T44" fmla="*/ 270107 w 41"/>
              <a:gd name="T45" fmla="*/ 244233 h 59"/>
              <a:gd name="T46" fmla="*/ 168817 w 41"/>
              <a:gd name="T47" fmla="*/ 345294 h 59"/>
              <a:gd name="T48" fmla="*/ 75968 w 41"/>
              <a:gd name="T49" fmla="*/ 244233 h 59"/>
              <a:gd name="T50" fmla="*/ 75968 w 41"/>
              <a:gd name="T51" fmla="*/ 92640 h 59"/>
              <a:gd name="T52" fmla="*/ 168817 w 41"/>
              <a:gd name="T53" fmla="*/ 0 h 59"/>
              <a:gd name="T54" fmla="*/ 270107 w 41"/>
              <a:gd name="T55" fmla="*/ 92640 h 59"/>
              <a:gd name="T56" fmla="*/ 270107 w 41"/>
              <a:gd name="T57" fmla="*/ 244233 h 5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41" h="59">
                <a:moveTo>
                  <a:pt x="41" y="29"/>
                </a:moveTo>
                <a:cubicBezTo>
                  <a:pt x="41" y="40"/>
                  <a:pt x="33" y="49"/>
                  <a:pt x="23" y="50"/>
                </a:cubicBezTo>
                <a:cubicBezTo>
                  <a:pt x="23" y="55"/>
                  <a:pt x="23" y="55"/>
                  <a:pt x="23" y="55"/>
                </a:cubicBezTo>
                <a:cubicBezTo>
                  <a:pt x="32" y="55"/>
                  <a:pt x="32" y="55"/>
                  <a:pt x="32" y="55"/>
                </a:cubicBezTo>
                <a:cubicBezTo>
                  <a:pt x="33" y="55"/>
                  <a:pt x="34" y="56"/>
                  <a:pt x="34" y="57"/>
                </a:cubicBezTo>
                <a:cubicBezTo>
                  <a:pt x="34" y="58"/>
                  <a:pt x="33" y="59"/>
                  <a:pt x="32" y="59"/>
                </a:cubicBezTo>
                <a:cubicBezTo>
                  <a:pt x="9" y="59"/>
                  <a:pt x="9" y="59"/>
                  <a:pt x="9" y="59"/>
                </a:cubicBezTo>
                <a:cubicBezTo>
                  <a:pt x="8" y="59"/>
                  <a:pt x="7" y="58"/>
                  <a:pt x="7" y="57"/>
                </a:cubicBezTo>
                <a:cubicBezTo>
                  <a:pt x="7" y="56"/>
                  <a:pt x="8" y="55"/>
                  <a:pt x="9" y="55"/>
                </a:cubicBezTo>
                <a:cubicBezTo>
                  <a:pt x="18" y="55"/>
                  <a:pt x="18" y="55"/>
                  <a:pt x="18" y="55"/>
                </a:cubicBezTo>
                <a:cubicBezTo>
                  <a:pt x="18" y="50"/>
                  <a:pt x="18" y="50"/>
                  <a:pt x="18" y="50"/>
                </a:cubicBezTo>
                <a:cubicBezTo>
                  <a:pt x="8" y="49"/>
                  <a:pt x="0" y="40"/>
                  <a:pt x="0" y="29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4"/>
                  <a:pt x="1" y="23"/>
                  <a:pt x="2" y="23"/>
                </a:cubicBezTo>
                <a:cubicBezTo>
                  <a:pt x="3" y="23"/>
                  <a:pt x="4" y="24"/>
                  <a:pt x="4" y="25"/>
                </a:cubicBezTo>
                <a:cubicBezTo>
                  <a:pt x="4" y="29"/>
                  <a:pt x="4" y="29"/>
                  <a:pt x="4" y="29"/>
                </a:cubicBezTo>
                <a:cubicBezTo>
                  <a:pt x="4" y="38"/>
                  <a:pt x="12" y="45"/>
                  <a:pt x="20" y="45"/>
                </a:cubicBezTo>
                <a:cubicBezTo>
                  <a:pt x="29" y="45"/>
                  <a:pt x="36" y="38"/>
                  <a:pt x="36" y="29"/>
                </a:cubicBezTo>
                <a:cubicBezTo>
                  <a:pt x="36" y="25"/>
                  <a:pt x="36" y="25"/>
                  <a:pt x="36" y="25"/>
                </a:cubicBezTo>
                <a:cubicBezTo>
                  <a:pt x="36" y="24"/>
                  <a:pt x="37" y="23"/>
                  <a:pt x="39" y="23"/>
                </a:cubicBezTo>
                <a:cubicBezTo>
                  <a:pt x="40" y="23"/>
                  <a:pt x="41" y="24"/>
                  <a:pt x="41" y="25"/>
                </a:cubicBezTo>
                <a:lnTo>
                  <a:pt x="41" y="29"/>
                </a:lnTo>
                <a:close/>
                <a:moveTo>
                  <a:pt x="32" y="29"/>
                </a:moveTo>
                <a:cubicBezTo>
                  <a:pt x="32" y="36"/>
                  <a:pt x="27" y="41"/>
                  <a:pt x="20" y="41"/>
                </a:cubicBezTo>
                <a:cubicBezTo>
                  <a:pt x="14" y="41"/>
                  <a:pt x="9" y="36"/>
                  <a:pt x="9" y="29"/>
                </a:cubicBezTo>
                <a:cubicBezTo>
                  <a:pt x="9" y="11"/>
                  <a:pt x="9" y="11"/>
                  <a:pt x="9" y="11"/>
                </a:cubicBezTo>
                <a:cubicBezTo>
                  <a:pt x="9" y="5"/>
                  <a:pt x="14" y="0"/>
                  <a:pt x="20" y="0"/>
                </a:cubicBezTo>
                <a:cubicBezTo>
                  <a:pt x="27" y="0"/>
                  <a:pt x="32" y="5"/>
                  <a:pt x="32" y="11"/>
                </a:cubicBezTo>
                <a:lnTo>
                  <a:pt x="32" y="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919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5</TotalTime>
  <Words>35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Stack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77</cp:revision>
  <dcterms:created xsi:type="dcterms:W3CDTF">2021-03-31T02:49:57Z</dcterms:created>
  <dcterms:modified xsi:type="dcterms:W3CDTF">2025-10-16T11:30:17Z</dcterms:modified>
  <cp:category/>
</cp:coreProperties>
</file>